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</p:sldMasterIdLst>
  <p:notesMasterIdLst>
    <p:notesMasterId r:id="rId6"/>
  </p:notesMasterIdLst>
  <p:handoutMasterIdLst>
    <p:handoutMasterId r:id="rId7"/>
  </p:handoutMasterIdLst>
  <p:sldIdLst>
    <p:sldId id="6459" r:id="rId5"/>
  </p:sldIdLst>
  <p:sldSz cx="12192000" cy="6858000"/>
  <p:notesSz cx="6810375" cy="9942513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pon, Silvia" initials="CS" lastIdx="0" clrIdx="0">
    <p:extLst>
      <p:ext uri="{19B8F6BF-5375-455C-9EA6-DF929625EA0E}">
        <p15:presenceInfo xmlns:p15="http://schemas.microsoft.com/office/powerpoint/2012/main" userId="S-1-5-21-2221389989-3851808846-2392671777-99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BFBFBF"/>
    <a:srgbClr val="7F7F7F"/>
    <a:srgbClr val="BF0000"/>
    <a:srgbClr val="D3D3D3"/>
    <a:srgbClr val="021E36"/>
    <a:srgbClr val="63A0DA"/>
    <a:srgbClr val="012748"/>
    <a:srgbClr val="FFFFFF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19" autoAdjust="0"/>
    <p:restoredTop sz="91938" autoAdjust="0"/>
  </p:normalViewPr>
  <p:slideViewPr>
    <p:cSldViewPr snapToGrid="0">
      <p:cViewPr>
        <p:scale>
          <a:sx n="100" d="100"/>
          <a:sy n="100" d="100"/>
        </p:scale>
        <p:origin x="810" y="-21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3240" y="930"/>
      </p:cViewPr>
      <p:guideLst>
        <p:guide orient="horz" pos="3132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mo, Claudio" userId="ef76c6e2-d490-4122-930c-77cb3a333acb" providerId="ADAL" clId="{1A59B462-7365-460C-B79A-1860EAE1B09C}"/>
    <pc:docChg chg="delSld">
      <pc:chgData name="Pomo, Claudio" userId="ef76c6e2-d490-4122-930c-77cb3a333acb" providerId="ADAL" clId="{1A59B462-7365-460C-B79A-1860EAE1B09C}" dt="2023-04-18T15:06:11.235" v="1" actId="47"/>
      <pc:docMkLst>
        <pc:docMk/>
      </pc:docMkLst>
      <pc:sldChg chg="del">
        <pc:chgData name="Pomo, Claudio" userId="ef76c6e2-d490-4122-930c-77cb3a333acb" providerId="ADAL" clId="{1A59B462-7365-460C-B79A-1860EAE1B09C}" dt="2023-04-18T15:06:02.677" v="0" actId="47"/>
        <pc:sldMkLst>
          <pc:docMk/>
          <pc:sldMk cId="697691241" sldId="256"/>
        </pc:sldMkLst>
      </pc:sldChg>
      <pc:sldChg chg="del">
        <pc:chgData name="Pomo, Claudio" userId="ef76c6e2-d490-4122-930c-77cb3a333acb" providerId="ADAL" clId="{1A59B462-7365-460C-B79A-1860EAE1B09C}" dt="2023-04-18T15:06:11.235" v="1" actId="47"/>
        <pc:sldMkLst>
          <pc:docMk/>
          <pc:sldMk cId="3707605165" sldId="262"/>
        </pc:sldMkLst>
      </pc:sldChg>
      <pc:sldChg chg="del">
        <pc:chgData name="Pomo, Claudio" userId="ef76c6e2-d490-4122-930c-77cb3a333acb" providerId="ADAL" clId="{1A59B462-7365-460C-B79A-1860EAE1B09C}" dt="2023-04-18T15:06:11.235" v="1" actId="47"/>
        <pc:sldMkLst>
          <pc:docMk/>
          <pc:sldMk cId="2390807642" sldId="356"/>
        </pc:sldMkLst>
      </pc:sldChg>
      <pc:sldChg chg="del">
        <pc:chgData name="Pomo, Claudio" userId="ef76c6e2-d490-4122-930c-77cb3a333acb" providerId="ADAL" clId="{1A59B462-7365-460C-B79A-1860EAE1B09C}" dt="2023-04-18T15:06:02.677" v="0" actId="47"/>
        <pc:sldMkLst>
          <pc:docMk/>
          <pc:sldMk cId="152626144" sldId="359"/>
        </pc:sldMkLst>
      </pc:sldChg>
      <pc:sldChg chg="del">
        <pc:chgData name="Pomo, Claudio" userId="ef76c6e2-d490-4122-930c-77cb3a333acb" providerId="ADAL" clId="{1A59B462-7365-460C-B79A-1860EAE1B09C}" dt="2023-04-18T15:06:02.677" v="0" actId="47"/>
        <pc:sldMkLst>
          <pc:docMk/>
          <pc:sldMk cId="3222735669" sldId="369"/>
        </pc:sldMkLst>
      </pc:sldChg>
      <pc:sldChg chg="del">
        <pc:chgData name="Pomo, Claudio" userId="ef76c6e2-d490-4122-930c-77cb3a333acb" providerId="ADAL" clId="{1A59B462-7365-460C-B79A-1860EAE1B09C}" dt="2023-04-18T15:06:11.235" v="1" actId="47"/>
        <pc:sldMkLst>
          <pc:docMk/>
          <pc:sldMk cId="3188027950" sldId="371"/>
        </pc:sldMkLst>
      </pc:sldChg>
      <pc:sldChg chg="del">
        <pc:chgData name="Pomo, Claudio" userId="ef76c6e2-d490-4122-930c-77cb3a333acb" providerId="ADAL" clId="{1A59B462-7365-460C-B79A-1860EAE1B09C}" dt="2023-04-18T15:06:02.677" v="0" actId="47"/>
        <pc:sldMkLst>
          <pc:docMk/>
          <pc:sldMk cId="3219172835" sldId="428"/>
        </pc:sldMkLst>
      </pc:sldChg>
      <pc:sldChg chg="del">
        <pc:chgData name="Pomo, Claudio" userId="ef76c6e2-d490-4122-930c-77cb3a333acb" providerId="ADAL" clId="{1A59B462-7365-460C-B79A-1860EAE1B09C}" dt="2023-04-18T15:06:11.235" v="1" actId="47"/>
        <pc:sldMkLst>
          <pc:docMk/>
          <pc:sldMk cId="936861468" sldId="6447"/>
        </pc:sldMkLst>
      </pc:sldChg>
      <pc:sldMasterChg chg="delSldLayout">
        <pc:chgData name="Pomo, Claudio" userId="ef76c6e2-d490-4122-930c-77cb3a333acb" providerId="ADAL" clId="{1A59B462-7365-460C-B79A-1860EAE1B09C}" dt="2023-04-18T15:06:11.235" v="1" actId="47"/>
        <pc:sldMasterMkLst>
          <pc:docMk/>
          <pc:sldMasterMk cId="1755124221" sldId="2147483701"/>
        </pc:sldMasterMkLst>
        <pc:sldLayoutChg chg="del">
          <pc:chgData name="Pomo, Claudio" userId="ef76c6e2-d490-4122-930c-77cb3a333acb" providerId="ADAL" clId="{1A59B462-7365-460C-B79A-1860EAE1B09C}" dt="2023-04-18T15:06:02.677" v="0" actId="47"/>
          <pc:sldLayoutMkLst>
            <pc:docMk/>
            <pc:sldMasterMk cId="1755124221" sldId="2147483701"/>
            <pc:sldLayoutMk cId="3170051396" sldId="2147483768"/>
          </pc:sldLayoutMkLst>
        </pc:sldLayoutChg>
        <pc:sldLayoutChg chg="del">
          <pc:chgData name="Pomo, Claudio" userId="ef76c6e2-d490-4122-930c-77cb3a333acb" providerId="ADAL" clId="{1A59B462-7365-460C-B79A-1860EAE1B09C}" dt="2023-04-18T15:06:11.235" v="1" actId="47"/>
          <pc:sldLayoutMkLst>
            <pc:docMk/>
            <pc:sldMasterMk cId="1755124221" sldId="2147483701"/>
            <pc:sldLayoutMk cId="3377691194" sldId="214748376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7638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4/2023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7638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7638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4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917575"/>
            <a:ext cx="6019800" cy="33861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697" y="4563777"/>
            <a:ext cx="5946982" cy="463304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7638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74420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876303" y="6551229"/>
            <a:ext cx="53239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55081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162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863604" y="1485901"/>
            <a:ext cx="10657417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6812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1175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BA6555C0-AD99-4049-AAB4-DCF86EA868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C0504D"/>
          </a:solidFill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0594258" y="6482242"/>
            <a:ext cx="928073" cy="253111"/>
            <a:chOff x="5549665" y="6206561"/>
            <a:chExt cx="1423860" cy="388326"/>
          </a:xfrm>
        </p:grpSpPr>
        <p:sp>
          <p:nvSpPr>
            <p:cNvPr id="8" name="Freeform 18"/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9 w 88"/>
                <a:gd name="T1" fmla="*/ 71 h 71"/>
                <a:gd name="T2" fmla="*/ 88 w 88"/>
                <a:gd name="T3" fmla="*/ 0 h 71"/>
                <a:gd name="T4" fmla="*/ 29 w 88"/>
                <a:gd name="T5" fmla="*/ 0 h 71"/>
                <a:gd name="T6" fmla="*/ 0 w 88"/>
                <a:gd name="T7" fmla="*/ 35 h 71"/>
                <a:gd name="T8" fmla="*/ 29 w 88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9"/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96 w 447"/>
                <a:gd name="T1" fmla="*/ 80 h 122"/>
                <a:gd name="T2" fmla="*/ 82 w 447"/>
                <a:gd name="T3" fmla="*/ 72 h 122"/>
                <a:gd name="T4" fmla="*/ 82 w 447"/>
                <a:gd name="T5" fmla="*/ 103 h 122"/>
                <a:gd name="T6" fmla="*/ 96 w 447"/>
                <a:gd name="T7" fmla="*/ 95 h 122"/>
                <a:gd name="T8" fmla="*/ 46 w 447"/>
                <a:gd name="T9" fmla="*/ 87 h 122"/>
                <a:gd name="T10" fmla="*/ 109 w 447"/>
                <a:gd name="T11" fmla="*/ 65 h 122"/>
                <a:gd name="T12" fmla="*/ 109 w 447"/>
                <a:gd name="T13" fmla="*/ 65 h 122"/>
                <a:gd name="T14" fmla="*/ 0 w 447"/>
                <a:gd name="T15" fmla="*/ 120 h 122"/>
                <a:gd name="T16" fmla="*/ 69 w 447"/>
                <a:gd name="T17" fmla="*/ 120 h 122"/>
                <a:gd name="T18" fmla="*/ 46 w 447"/>
                <a:gd name="T19" fmla="*/ 87 h 122"/>
                <a:gd name="T20" fmla="*/ 114 w 447"/>
                <a:gd name="T21" fmla="*/ 103 h 122"/>
                <a:gd name="T22" fmla="*/ 94 w 447"/>
                <a:gd name="T23" fmla="*/ 120 h 122"/>
                <a:gd name="T24" fmla="*/ 142 w 447"/>
                <a:gd name="T25" fmla="*/ 120 h 122"/>
                <a:gd name="T26" fmla="*/ 140 w 447"/>
                <a:gd name="T27" fmla="*/ 120 h 122"/>
                <a:gd name="T28" fmla="*/ 231 w 447"/>
                <a:gd name="T29" fmla="*/ 69 h 122"/>
                <a:gd name="T30" fmla="*/ 218 w 447"/>
                <a:gd name="T31" fmla="*/ 46 h 122"/>
                <a:gd name="T32" fmla="*/ 254 w 447"/>
                <a:gd name="T33" fmla="*/ 59 h 122"/>
                <a:gd name="T34" fmla="*/ 187 w 447"/>
                <a:gd name="T35" fmla="*/ 57 h 122"/>
                <a:gd name="T36" fmla="*/ 239 w 447"/>
                <a:gd name="T37" fmla="*/ 96 h 122"/>
                <a:gd name="T38" fmla="*/ 202 w 447"/>
                <a:gd name="T39" fmla="*/ 91 h 122"/>
                <a:gd name="T40" fmla="*/ 221 w 447"/>
                <a:gd name="T41" fmla="*/ 122 h 122"/>
                <a:gd name="T42" fmla="*/ 231 w 447"/>
                <a:gd name="T43" fmla="*/ 69 h 122"/>
                <a:gd name="T44" fmla="*/ 335 w 447"/>
                <a:gd name="T45" fmla="*/ 64 h 122"/>
                <a:gd name="T46" fmla="*/ 288 w 447"/>
                <a:gd name="T47" fmla="*/ 88 h 122"/>
                <a:gd name="T48" fmla="*/ 336 w 447"/>
                <a:gd name="T49" fmla="*/ 112 h 122"/>
                <a:gd name="T50" fmla="*/ 336 w 447"/>
                <a:gd name="T51" fmla="*/ 120 h 122"/>
                <a:gd name="T52" fmla="*/ 353 w 447"/>
                <a:gd name="T53" fmla="*/ 33 h 122"/>
                <a:gd name="T54" fmla="*/ 336 w 447"/>
                <a:gd name="T55" fmla="*/ 64 h 122"/>
                <a:gd name="T56" fmla="*/ 306 w 447"/>
                <a:gd name="T57" fmla="*/ 88 h 122"/>
                <a:gd name="T58" fmla="*/ 336 w 447"/>
                <a:gd name="T59" fmla="*/ 88 h 122"/>
                <a:gd name="T60" fmla="*/ 392 w 447"/>
                <a:gd name="T61" fmla="*/ 55 h 122"/>
                <a:gd name="T62" fmla="*/ 392 w 447"/>
                <a:gd name="T63" fmla="*/ 122 h 122"/>
                <a:gd name="T64" fmla="*/ 406 w 447"/>
                <a:gd name="T65" fmla="*/ 101 h 122"/>
                <a:gd name="T66" fmla="*/ 377 w 447"/>
                <a:gd name="T67" fmla="*/ 93 h 122"/>
                <a:gd name="T68" fmla="*/ 392 w 447"/>
                <a:gd name="T69" fmla="*/ 55 h 122"/>
                <a:gd name="T70" fmla="*/ 391 w 447"/>
                <a:gd name="T71" fmla="*/ 68 h 122"/>
                <a:gd name="T72" fmla="*/ 377 w 447"/>
                <a:gd name="T73" fmla="*/ 82 h 122"/>
                <a:gd name="T74" fmla="*/ 447 w 447"/>
                <a:gd name="T75" fmla="*/ 120 h 122"/>
                <a:gd name="T76" fmla="*/ 430 w 447"/>
                <a:gd name="T77" fmla="*/ 33 h 122"/>
                <a:gd name="T78" fmla="*/ 264 w 447"/>
                <a:gd name="T79" fmla="*/ 47 h 122"/>
                <a:gd name="T80" fmla="*/ 281 w 447"/>
                <a:gd name="T81" fmla="*/ 33 h 122"/>
                <a:gd name="T82" fmla="*/ 264 w 447"/>
                <a:gd name="T83" fmla="*/ 47 h 122"/>
                <a:gd name="T84" fmla="*/ 281 w 447"/>
                <a:gd name="T85" fmla="*/ 120 h 122"/>
                <a:gd name="T86" fmla="*/ 264 w 447"/>
                <a:gd name="T87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35599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16x9new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38" y="0"/>
            <a:ext cx="12176562" cy="68707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3455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99" imgH="399" progId="TCLayout.ActiveDocument.1">
                  <p:embed/>
                </p:oleObj>
              </mc:Choice>
              <mc:Fallback>
                <p:oleObj name="think-cell Folie" r:id="rId10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7417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863604" y="6381750"/>
            <a:ext cx="10657417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magine 15" descr="SidelLogoRGB.pn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748" y="6483582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AC222884-F487-4FB8-9FC2-220FFAFC394C}"/>
              </a:ext>
            </a:extLst>
          </p:cNvPr>
          <p:cNvSpPr txBox="1"/>
          <p:nvPr userDrawn="1"/>
        </p:nvSpPr>
        <p:spPr>
          <a:xfrm>
            <a:off x="5828146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7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17551242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Arial Nova Cond" panose="020B0506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3809">
          <p15:clr>
            <a:srgbClr val="F26B43"/>
          </p15:clr>
        </p15:guide>
        <p15:guide id="3" pos="544">
          <p15:clr>
            <a:srgbClr val="F26B43"/>
          </p15:clr>
        </p15:guide>
        <p15:guide id="4" pos="3991">
          <p15:clr>
            <a:srgbClr val="F26B43"/>
          </p15:clr>
        </p15:guide>
        <p15:guide id="5" pos="7257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740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72">
          <p15:clr>
            <a:srgbClr val="F26B43"/>
          </p15:clr>
        </p15:guide>
        <p15:guide id="12" pos="39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7C083B-820F-4427-A9C0-FE8221625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ea typeface="+mj-lt"/>
                <a:cs typeface="+mj-lt"/>
              </a:rPr>
              <a:t>Neck finish under control</a:t>
            </a:r>
            <a:endParaRPr lang="it-IT" i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DCAF04-438F-4A7E-8E52-F04DE23426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eck ventilation at the end of the oven</a:t>
            </a:r>
            <a:endParaRPr lang="it-IT" dirty="0"/>
          </a:p>
        </p:txBody>
      </p:sp>
      <p:sp>
        <p:nvSpPr>
          <p:cNvPr id="7" name="Rechteck 3">
            <a:extLst>
              <a:ext uri="{FF2B5EF4-FFF2-40B4-BE49-F238E27FC236}">
                <a16:creationId xmlns:a16="http://schemas.microsoft.com/office/drawing/2014/main" id="{921A3E86-62EE-4EC9-939D-B3FFF8DFEF85}"/>
              </a:ext>
            </a:extLst>
          </p:cNvPr>
          <p:cNvSpPr/>
          <p:nvPr/>
        </p:nvSpPr>
        <p:spPr bwMode="auto">
          <a:xfrm>
            <a:off x="863601" y="1435880"/>
            <a:ext cx="5072271" cy="43644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>
              <a:spcBef>
                <a:spcPts val="300"/>
              </a:spcBef>
              <a:buClr>
                <a:srgbClr val="FF6600"/>
              </a:buClr>
              <a:defRPr/>
            </a:pPr>
            <a:r>
              <a:rPr lang="en-GB" sz="1400" b="1">
                <a:solidFill>
                  <a:srgbClr val="FFFFFF"/>
                </a:solidFill>
                <a:latin typeface="Arial Nova Cond" panose="020B0506020202020204" pitchFamily="34" charset="0"/>
                <a:ea typeface="MS PGothic" pitchFamily="34" charset="-128"/>
              </a:rPr>
              <a:t>VALUE AND BENEFITS</a:t>
            </a:r>
          </a:p>
        </p:txBody>
      </p:sp>
      <p:sp>
        <p:nvSpPr>
          <p:cNvPr id="8" name="Rechteck 4">
            <a:extLst>
              <a:ext uri="{FF2B5EF4-FFF2-40B4-BE49-F238E27FC236}">
                <a16:creationId xmlns:a16="http://schemas.microsoft.com/office/drawing/2014/main" id="{CC9C6C4E-818A-4831-A5E4-AE771FCDCCAF}"/>
              </a:ext>
            </a:extLst>
          </p:cNvPr>
          <p:cNvSpPr>
            <a:spLocks/>
          </p:cNvSpPr>
          <p:nvPr/>
        </p:nvSpPr>
        <p:spPr bwMode="auto">
          <a:xfrm>
            <a:off x="863601" y="1872323"/>
            <a:ext cx="5072272" cy="396339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 Nova Cond" panose="020B0506020202020204" pitchFamily="34" charset="0"/>
              </a:rPr>
              <a:t>Additional cooling of the preform neck finish with blown air.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 Nova Cond" panose="020B0506020202020204" pitchFamily="34" charset="0"/>
              </a:rPr>
              <a:t>Reduce the risk of having neck finishes overheating.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 Nova Cond" panose="020B0506020202020204" pitchFamily="34" charset="0"/>
              </a:rPr>
              <a:t>In some cases, it can ease the production of very technical bottles.</a:t>
            </a:r>
          </a:p>
        </p:txBody>
      </p:sp>
      <p:sp>
        <p:nvSpPr>
          <p:cNvPr id="9" name="Rechteck 11">
            <a:extLst>
              <a:ext uri="{FF2B5EF4-FFF2-40B4-BE49-F238E27FC236}">
                <a16:creationId xmlns:a16="http://schemas.microsoft.com/office/drawing/2014/main" id="{1F0151DF-58E3-4EFF-8005-8601E492CFBC}"/>
              </a:ext>
            </a:extLst>
          </p:cNvPr>
          <p:cNvSpPr/>
          <p:nvPr/>
        </p:nvSpPr>
        <p:spPr bwMode="auto">
          <a:xfrm>
            <a:off x="6256129" y="1421146"/>
            <a:ext cx="5264892" cy="45117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indent="-190500" fontAlgn="base">
              <a:spcBef>
                <a:spcPts val="300"/>
              </a:spcBef>
              <a:buClr>
                <a:srgbClr val="E64B00"/>
              </a:buClr>
              <a:defRPr/>
            </a:pPr>
            <a:r>
              <a:rPr lang="de-CH" altLang="de-DE" sz="1400" b="1" noProof="1">
                <a:solidFill>
                  <a:srgbClr val="FFFFFF"/>
                </a:solidFill>
                <a:latin typeface="Arial Nova Cond" panose="020B0506020202020204" pitchFamily="34" charset="0"/>
                <a:cs typeface="Arial" charset="0"/>
              </a:rPr>
              <a:t>DESCRIPTION</a:t>
            </a:r>
            <a:endParaRPr lang="en-GB" altLang="de-DE" sz="1400">
              <a:solidFill>
                <a:srgbClr val="FFFFFF"/>
              </a:solidFill>
              <a:latin typeface="Arial Nova Cond" panose="020B0506020202020204" pitchFamily="34" charset="0"/>
              <a:cs typeface="Arial" charset="0"/>
            </a:endParaRPr>
          </a:p>
        </p:txBody>
      </p:sp>
      <p:sp>
        <p:nvSpPr>
          <p:cNvPr id="10" name="Rechteck 12">
            <a:extLst>
              <a:ext uri="{FF2B5EF4-FFF2-40B4-BE49-F238E27FC236}">
                <a16:creationId xmlns:a16="http://schemas.microsoft.com/office/drawing/2014/main" id="{D5464456-BC1C-4135-B8CA-C8B46BE1FB45}"/>
              </a:ext>
            </a:extLst>
          </p:cNvPr>
          <p:cNvSpPr>
            <a:spLocks/>
          </p:cNvSpPr>
          <p:nvPr/>
        </p:nvSpPr>
        <p:spPr bwMode="auto">
          <a:xfrm>
            <a:off x="6256129" y="1872323"/>
            <a:ext cx="5264892" cy="3963397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t"/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latin typeface="Arial Nova Cond" panose="020B0506020202020204" pitchFamily="34" charset="0"/>
                <a:ea typeface="宋体" charset="-122"/>
              </a:rPr>
              <a:t>A centrifugal fan to be installed at the end of the oven, in the 180° bend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latin typeface="Arial Nova Cond" panose="020B0506020202020204" pitchFamily="34" charset="0"/>
                <a:ea typeface="宋体" charset="-122"/>
              </a:rPr>
              <a:t>Plugged on the spindle chain tensioner shaft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latin typeface="Arial Nova Cond" panose="020B0506020202020204" pitchFamily="34" charset="0"/>
                <a:ea typeface="宋体" charset="-122"/>
              </a:rPr>
              <a:t>Not suitable for oven equipped with neck indexing system.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GB" altLang="zh-CN" sz="1200" dirty="0">
              <a:solidFill>
                <a:srgbClr val="000000"/>
              </a:solidFill>
              <a:latin typeface="Arial Nova Cond" panose="020B0506020202020204" pitchFamily="34" charset="0"/>
              <a:ea typeface="宋体" charset="-122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GB" altLang="zh-CN" sz="1200" dirty="0">
              <a:solidFill>
                <a:srgbClr val="000000"/>
              </a:solidFill>
              <a:latin typeface="Arial Nova Cond" panose="020B0506020202020204" pitchFamily="34" charset="0"/>
              <a:ea typeface="宋体" charset="-122"/>
            </a:endParaRP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endParaRPr lang="en-GB" altLang="zh-CN" sz="1200" dirty="0">
              <a:solidFill>
                <a:srgbClr val="000000"/>
              </a:solidFill>
              <a:latin typeface="Arial Nova Cond" panose="020B0506020202020204" pitchFamily="34" charset="0"/>
              <a:ea typeface="宋体" charset="-122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A6F457-3745-499C-AADE-B66B3DEC6486}"/>
              </a:ext>
            </a:extLst>
          </p:cNvPr>
          <p:cNvSpPr txBox="1">
            <a:spLocks/>
          </p:cNvSpPr>
          <p:nvPr/>
        </p:nvSpPr>
        <p:spPr bwMode="auto">
          <a:xfrm>
            <a:off x="887432" y="591330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Value: Product Quality</a:t>
            </a:r>
          </a:p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Equipment: Blower Series 2</a:t>
            </a:r>
          </a:p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Catalogue code: 993</a:t>
            </a:r>
          </a:p>
        </p:txBody>
      </p:sp>
      <p:pic>
        <p:nvPicPr>
          <p:cNvPr id="2" name="Image 21">
            <a:extLst>
              <a:ext uri="{FF2B5EF4-FFF2-40B4-BE49-F238E27FC236}">
                <a16:creationId xmlns:a16="http://schemas.microsoft.com/office/drawing/2014/main" id="{A6B16AA7-8B6D-3BED-2EF0-1739DC9E38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9238" y="3648075"/>
            <a:ext cx="3566299" cy="167202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5292145-2C52-E06C-58B3-04A4B8D35269}"/>
              </a:ext>
            </a:extLst>
          </p:cNvPr>
          <p:cNvSpPr/>
          <p:nvPr/>
        </p:nvSpPr>
        <p:spPr>
          <a:xfrm>
            <a:off x="9732363" y="4084220"/>
            <a:ext cx="425358" cy="43815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mage 3">
            <a:extLst>
              <a:ext uri="{FF2B5EF4-FFF2-40B4-BE49-F238E27FC236}">
                <a16:creationId xmlns:a16="http://schemas.microsoft.com/office/drawing/2014/main" id="{AFD0C114-7312-B2AB-9F05-80381B6CCD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17" b="89879" l="5438" r="91994">
                        <a14:foregroundMark x1="92145" y1="31984" x2="92145" y2="31984"/>
                        <a14:foregroundMark x1="48640" y1="45344" x2="48640" y2="45344"/>
                        <a14:foregroundMark x1="5438" y1="61943" x2="5438" y2="61943"/>
                        <a14:foregroundMark x1="66616" y1="33198" x2="66616" y2="33198"/>
                        <a14:foregroundMark x1="80514" y1="39271" x2="80514" y2="3927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07162" y="3171708"/>
            <a:ext cx="1457141" cy="543675"/>
          </a:xfrm>
          <a:prstGeom prst="rect">
            <a:avLst/>
          </a:prstGeom>
        </p:spPr>
      </p:pic>
      <p:cxnSp>
        <p:nvCxnSpPr>
          <p:cNvPr id="15" name="Connecteur droit avec flèche 5">
            <a:extLst>
              <a:ext uri="{FF2B5EF4-FFF2-40B4-BE49-F238E27FC236}">
                <a16:creationId xmlns:a16="http://schemas.microsoft.com/office/drawing/2014/main" id="{2651C654-21DB-276E-81FC-6D0008069CF6}"/>
              </a:ext>
            </a:extLst>
          </p:cNvPr>
          <p:cNvCxnSpPr>
            <a:cxnSpLocks/>
          </p:cNvCxnSpPr>
          <p:nvPr/>
        </p:nvCxnSpPr>
        <p:spPr>
          <a:xfrm flipH="1">
            <a:off x="10007162" y="3694312"/>
            <a:ext cx="473887" cy="354044"/>
          </a:xfrm>
          <a:prstGeom prst="straightConnector1">
            <a:avLst/>
          </a:prstGeom>
          <a:noFill/>
          <a:ln w="19050" cap="flat" cmpd="sng" algn="ctr">
            <a:solidFill>
              <a:srgbClr val="FF0000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pic>
        <p:nvPicPr>
          <p:cNvPr id="16" name="Image 12">
            <a:extLst>
              <a:ext uri="{FF2B5EF4-FFF2-40B4-BE49-F238E27FC236}">
                <a16:creationId xmlns:a16="http://schemas.microsoft.com/office/drawing/2014/main" id="{C1F37215-BDCE-B9CD-5BDB-1A4E3BE685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5697" y="2621756"/>
            <a:ext cx="1036819" cy="2853200"/>
          </a:xfrm>
          <a:prstGeom prst="rect">
            <a:avLst/>
          </a:prstGeom>
        </p:spPr>
      </p:pic>
      <p:pic>
        <p:nvPicPr>
          <p:cNvPr id="17" name="Image 13">
            <a:extLst>
              <a:ext uri="{FF2B5EF4-FFF2-40B4-BE49-F238E27FC236}">
                <a16:creationId xmlns:a16="http://schemas.microsoft.com/office/drawing/2014/main" id="{1C1C8CED-BDA5-DA2C-B05C-E5DBCA2E30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4099497" y="4624426"/>
            <a:ext cx="549457" cy="786452"/>
          </a:xfrm>
          <a:prstGeom prst="rect">
            <a:avLst/>
          </a:prstGeom>
        </p:spPr>
      </p:pic>
      <p:pic>
        <p:nvPicPr>
          <p:cNvPr id="18" name="Image 16">
            <a:extLst>
              <a:ext uri="{FF2B5EF4-FFF2-40B4-BE49-F238E27FC236}">
                <a16:creationId xmlns:a16="http://schemas.microsoft.com/office/drawing/2014/main" id="{C8B9DBDF-9E25-18FD-A899-6BCFAA08B2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6267" y="3419157"/>
            <a:ext cx="2293111" cy="2126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2342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4BE121F6E1B04588F1E5E9C33B4515" ma:contentTypeVersion="15" ma:contentTypeDescription="Create a new document." ma:contentTypeScope="" ma:versionID="e629f3348c623ff52b32f297b66dbdb5">
  <xsd:schema xmlns:xsd="http://www.w3.org/2001/XMLSchema" xmlns:xs="http://www.w3.org/2001/XMLSchema" xmlns:p="http://schemas.microsoft.com/office/2006/metadata/properties" xmlns:ns2="626daeae-fdbe-421c-89c1-698ddb989d06" xmlns:ns3="75d0608f-a523-409e-b9e4-b87e2a8603bf" targetNamespace="http://schemas.microsoft.com/office/2006/metadata/properties" ma:root="true" ma:fieldsID="294fbef64ee8adc2e56ce1160febc158" ns2:_="" ns3:_="">
    <xsd:import namespace="626daeae-fdbe-421c-89c1-698ddb989d06"/>
    <xsd:import namespace="75d0608f-a523-409e-b9e4-b87e2a8603bf"/>
    <xsd:element name="properties">
      <xsd:complexType>
        <xsd:sequence>
          <xsd:element name="documentManagement">
            <xsd:complexType>
              <xsd:all>
                <xsd:element ref="ns2:Comments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6daeae-fdbe-421c-89c1-698ddb989d06" elementFormDefault="qualified">
    <xsd:import namespace="http://schemas.microsoft.com/office/2006/documentManagement/types"/>
    <xsd:import namespace="http://schemas.microsoft.com/office/infopath/2007/PartnerControls"/>
    <xsd:element name="Comments" ma:index="2" nillable="true" ma:displayName="Comments" ma:internalName="Comments" ma:readOnly="false">
      <xsd:simpleType>
        <xsd:restriction base="dms:Note">
          <xsd:maxLength value="255"/>
        </xsd:restriction>
      </xsd:simple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hidden="true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hidden="true" ma:internalName="MediaServiceOCR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d0608f-a523-409e-b9e4-b87e2a8603b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f6cecc22-1c44-4cec-91de-baaaa1be64a4}" ma:internalName="TaxCatchAll" ma:showField="CatchAllData" ma:web="75d0608f-a523-409e-b9e4-b87e2a8603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626daeae-fdbe-421c-89c1-698ddb989d06">SF042 - reworked ppt in 16:9. Details and description from tech dept ppt
</Comments>
    <TaxCatchAll xmlns="75d0608f-a523-409e-b9e4-b87e2a8603bf" xsi:nil="true"/>
    <lcf76f155ced4ddcb4097134ff3c332f xmlns="626daeae-fdbe-421c-89c1-698ddb989d0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4B1FB1B-52A0-4452-B58F-D02441E0E0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6daeae-fdbe-421c-89c1-698ddb989d06"/>
    <ds:schemaRef ds:uri="75d0608f-a523-409e-b9e4-b87e2a8603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BD241B-0A88-4F8B-8D7A-2E9F06996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5A4401-86FC-43EE-847F-C8EB8A9FF788}">
  <ds:schemaRefs>
    <ds:schemaRef ds:uri="http://schemas.microsoft.com/office/2006/metadata/properties"/>
    <ds:schemaRef ds:uri="http://schemas.microsoft.com/office/infopath/2007/PartnerControls"/>
    <ds:schemaRef ds:uri="626daeae-fdbe-421c-89c1-698ddb989d06"/>
    <ds:schemaRef ds:uri="75d0608f-a523-409e-b9e4-b87e2a8603b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88</TotalTime>
  <Words>100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rial Nova Cond</vt:lpstr>
      <vt:lpstr>Wingdings</vt:lpstr>
      <vt:lpstr>1_NewSidel_Template_4x3_with add layouts</vt:lpstr>
      <vt:lpstr>think-cell Folie</vt:lpstr>
      <vt:lpstr>Neck finish under control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ons catalogue for EvoBLOW</dc:title>
  <dc:creator>Garreau, Emmanuel</dc:creator>
  <cp:lastModifiedBy>Pomo, Claudio</cp:lastModifiedBy>
  <cp:revision>411</cp:revision>
  <cp:lastPrinted>2020-09-30T08:10:23Z</cp:lastPrinted>
  <dcterms:created xsi:type="dcterms:W3CDTF">2017-11-16T13:47:10Z</dcterms:created>
  <dcterms:modified xsi:type="dcterms:W3CDTF">2023-04-18T15:0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ContentTypeId">
    <vt:lpwstr>0x0101002F4BE121F6E1B04588F1E5E9C33B4515</vt:lpwstr>
  </property>
  <property fmtid="{D5CDD505-2E9C-101B-9397-08002B2CF9AE}" pid="5" name="Order">
    <vt:r8>94600</vt:r8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TemplateUrl">
    <vt:lpwstr/>
  </property>
  <property fmtid="{D5CDD505-2E9C-101B-9397-08002B2CF9AE}" pid="9" name="ComplianceAssetId">
    <vt:lpwstr/>
  </property>
  <property fmtid="{D5CDD505-2E9C-101B-9397-08002B2CF9AE}" pid="10" name="MSIP_Label_94480757-a570-4f64-84e7-c5b3ffe9d573_Enabled">
    <vt:lpwstr>true</vt:lpwstr>
  </property>
  <property fmtid="{D5CDD505-2E9C-101B-9397-08002B2CF9AE}" pid="11" name="MSIP_Label_94480757-a570-4f64-84e7-c5b3ffe9d573_SetDate">
    <vt:lpwstr>2021-11-16T14:21:56Z</vt:lpwstr>
  </property>
  <property fmtid="{D5CDD505-2E9C-101B-9397-08002B2CF9AE}" pid="12" name="MSIP_Label_94480757-a570-4f64-84e7-c5b3ffe9d573_Method">
    <vt:lpwstr>Privileged</vt:lpwstr>
  </property>
  <property fmtid="{D5CDD505-2E9C-101B-9397-08002B2CF9AE}" pid="13" name="MSIP_Label_94480757-a570-4f64-84e7-c5b3ffe9d573_Name">
    <vt:lpwstr>General</vt:lpwstr>
  </property>
  <property fmtid="{D5CDD505-2E9C-101B-9397-08002B2CF9AE}" pid="14" name="MSIP_Label_94480757-a570-4f64-84e7-c5b3ffe9d573_SiteId">
    <vt:lpwstr>2390cbd1-e663-4321-bc93-ba298637ce52</vt:lpwstr>
  </property>
  <property fmtid="{D5CDD505-2E9C-101B-9397-08002B2CF9AE}" pid="15" name="MSIP_Label_94480757-a570-4f64-84e7-c5b3ffe9d573_ActionId">
    <vt:lpwstr>adbdfa03-83ed-4478-b184-46328badba32</vt:lpwstr>
  </property>
  <property fmtid="{D5CDD505-2E9C-101B-9397-08002B2CF9AE}" pid="16" name="MSIP_Label_94480757-a570-4f64-84e7-c5b3ffe9d573_ContentBits">
    <vt:lpwstr>2</vt:lpwstr>
  </property>
  <property fmtid="{D5CDD505-2E9C-101B-9397-08002B2CF9AE}" pid="17" name="MediaServiceImageTags">
    <vt:lpwstr/>
  </property>
</Properties>
</file>